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401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250FBA-4CCC-C59A-66FE-59F70A6B98DC}" v="395" dt="2023-06-21T16:25:16.4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>
        <p:scale>
          <a:sx n="100" d="100"/>
          <a:sy n="100" d="100"/>
        </p:scale>
        <p:origin x="11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rinne Lucas" userId="S::corinnelucas@corinnelucas.onmicrosoft.com::c06c79ba-2963-4f79-b81d-ead7c52970e9" providerId="AD" clId="Web-{30250FBA-4CCC-C59A-66FE-59F70A6B98DC}"/>
    <pc:docChg chg="addSld delSld modSld sldOrd">
      <pc:chgData name="Corinne Lucas" userId="S::corinnelucas@corinnelucas.onmicrosoft.com::c06c79ba-2963-4f79-b81d-ead7c52970e9" providerId="AD" clId="Web-{30250FBA-4CCC-C59A-66FE-59F70A6B98DC}" dt="2023-06-21T16:24:46.119" v="231" actId="20577"/>
      <pc:docMkLst>
        <pc:docMk/>
      </pc:docMkLst>
      <pc:sldChg chg="addSp delSp modSp">
        <pc:chgData name="Corinne Lucas" userId="S::corinnelucas@corinnelucas.onmicrosoft.com::c06c79ba-2963-4f79-b81d-ead7c52970e9" providerId="AD" clId="Web-{30250FBA-4CCC-C59A-66FE-59F70A6B98DC}" dt="2023-06-21T16:19:05.272" v="221" actId="20577"/>
        <pc:sldMkLst>
          <pc:docMk/>
          <pc:sldMk cId="44480560" sldId="391"/>
        </pc:sldMkLst>
        <pc:spChg chg="mod">
          <ac:chgData name="Corinne Lucas" userId="S::corinnelucas@corinnelucas.onmicrosoft.com::c06c79ba-2963-4f79-b81d-ead7c52970e9" providerId="AD" clId="Web-{30250FBA-4CCC-C59A-66FE-59F70A6B98DC}" dt="2023-06-21T16:19:05.272" v="221" actId="20577"/>
          <ac:spMkLst>
            <pc:docMk/>
            <pc:sldMk cId="44480560" sldId="391"/>
            <ac:spMk id="2" creationId="{F0E37C96-13BD-4F0C-B379-77591A183D9B}"/>
          </ac:spMkLst>
        </pc:spChg>
        <pc:spChg chg="del">
          <ac:chgData name="Corinne Lucas" userId="S::corinnelucas@corinnelucas.onmicrosoft.com::c06c79ba-2963-4f79-b81d-ead7c52970e9" providerId="AD" clId="Web-{30250FBA-4CCC-C59A-66FE-59F70A6B98DC}" dt="2023-06-21T16:16:06.192" v="195"/>
          <ac:spMkLst>
            <pc:docMk/>
            <pc:sldMk cId="44480560" sldId="391"/>
            <ac:spMk id="31" creationId="{F3D0ED9C-5523-4B1C-A07E-11C1F219EC79}"/>
          </ac:spMkLst>
        </pc:spChg>
        <pc:picChg chg="add mod">
          <ac:chgData name="Corinne Lucas" userId="S::corinnelucas@corinnelucas.onmicrosoft.com::c06c79ba-2963-4f79-b81d-ead7c52970e9" providerId="AD" clId="Web-{30250FBA-4CCC-C59A-66FE-59F70A6B98DC}" dt="2023-06-21T16:16:25.005" v="199" actId="1076"/>
          <ac:picMkLst>
            <pc:docMk/>
            <pc:sldMk cId="44480560" sldId="391"/>
            <ac:picMk id="3" creationId="{45015093-13C5-49D9-5857-45AD33EACB8A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6:16:45.302" v="203" actId="1076"/>
          <ac:picMkLst>
            <pc:docMk/>
            <pc:sldMk cId="44480560" sldId="391"/>
            <ac:picMk id="4" creationId="{3ED60C89-3274-6FD5-D70E-98377B65B8DF}"/>
          </ac:picMkLst>
        </pc:picChg>
      </pc:sldChg>
      <pc:sldChg chg="del">
        <pc:chgData name="Corinne Lucas" userId="S::corinnelucas@corinnelucas.onmicrosoft.com::c06c79ba-2963-4f79-b81d-ead7c52970e9" providerId="AD" clId="Web-{30250FBA-4CCC-C59A-66FE-59F70A6B98DC}" dt="2023-06-21T15:21:22.660" v="113"/>
        <pc:sldMkLst>
          <pc:docMk/>
          <pc:sldMk cId="2844286603" sldId="392"/>
        </pc:sldMkLst>
      </pc:sldChg>
      <pc:sldChg chg="addSp delSp modSp ord">
        <pc:chgData name="Corinne Lucas" userId="S::corinnelucas@corinnelucas.onmicrosoft.com::c06c79ba-2963-4f79-b81d-ead7c52970e9" providerId="AD" clId="Web-{30250FBA-4CCC-C59A-66FE-59F70A6B98DC}" dt="2023-06-21T15:56:41.227" v="184" actId="20577"/>
        <pc:sldMkLst>
          <pc:docMk/>
          <pc:sldMk cId="911419877" sldId="395"/>
        </pc:sldMkLst>
        <pc:spChg chg="mod">
          <ac:chgData name="Corinne Lucas" userId="S::corinnelucas@corinnelucas.onmicrosoft.com::c06c79ba-2963-4f79-b81d-ead7c52970e9" providerId="AD" clId="Web-{30250FBA-4CCC-C59A-66FE-59F70A6B98DC}" dt="2023-06-21T15:56:41.227" v="184" actId="20577"/>
          <ac:spMkLst>
            <pc:docMk/>
            <pc:sldMk cId="911419877" sldId="395"/>
            <ac:spMk id="2" creationId="{F0E37C96-13BD-4F0C-B379-77591A183D9B}"/>
          </ac:spMkLst>
        </pc:spChg>
        <pc:spChg chg="del">
          <ac:chgData name="Corinne Lucas" userId="S::corinnelucas@corinnelucas.onmicrosoft.com::c06c79ba-2963-4f79-b81d-ead7c52970e9" providerId="AD" clId="Web-{30250FBA-4CCC-C59A-66FE-59F70A6B98DC}" dt="2023-06-21T15:47:45.660" v="155"/>
          <ac:spMkLst>
            <pc:docMk/>
            <pc:sldMk cId="911419877" sldId="395"/>
            <ac:spMk id="15" creationId="{BD1DDCDC-3E10-4265-8E28-C256F42C790A}"/>
          </ac:spMkLst>
        </pc:spChg>
        <pc:graphicFrameChg chg="del">
          <ac:chgData name="Corinne Lucas" userId="S::corinnelucas@corinnelucas.onmicrosoft.com::c06c79ba-2963-4f79-b81d-ead7c52970e9" providerId="AD" clId="Web-{30250FBA-4CCC-C59A-66FE-59F70A6B98DC}" dt="2023-06-21T15:50:07.442" v="167"/>
          <ac:graphicFrameMkLst>
            <pc:docMk/>
            <pc:sldMk cId="911419877" sldId="395"/>
            <ac:graphicFrameMk id="8" creationId="{84435EA6-5B8E-4730-B223-FE290A38DAEC}"/>
          </ac:graphicFrameMkLst>
        </pc:graphicFrameChg>
        <pc:graphicFrameChg chg="del">
          <ac:chgData name="Corinne Lucas" userId="S::corinnelucas@corinnelucas.onmicrosoft.com::c06c79ba-2963-4f79-b81d-ead7c52970e9" providerId="AD" clId="Web-{30250FBA-4CCC-C59A-66FE-59F70A6B98DC}" dt="2023-06-21T15:50:38.724" v="171"/>
          <ac:graphicFrameMkLst>
            <pc:docMk/>
            <pc:sldMk cId="911419877" sldId="395"/>
            <ac:graphicFrameMk id="9" creationId="{2CB0F527-0915-47BD-9B04-DA784977ADEC}"/>
          </ac:graphicFrameMkLst>
        </pc:graphicFrameChg>
        <pc:picChg chg="add del mod">
          <ac:chgData name="Corinne Lucas" userId="S::corinnelucas@corinnelucas.onmicrosoft.com::c06c79ba-2963-4f79-b81d-ead7c52970e9" providerId="AD" clId="Web-{30250FBA-4CCC-C59A-66FE-59F70A6B98DC}" dt="2023-06-21T15:48:11.223" v="162"/>
          <ac:picMkLst>
            <pc:docMk/>
            <pc:sldMk cId="911419877" sldId="395"/>
            <ac:picMk id="3" creationId="{40105D8C-B677-D57B-571D-E6412ACDDF05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5:49:47.770" v="166" actId="1076"/>
          <ac:picMkLst>
            <pc:docMk/>
            <pc:sldMk cId="911419877" sldId="395"/>
            <ac:picMk id="4" creationId="{5C2F4C79-8925-3D8B-E829-B15AA87C138E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5:50:27.365" v="170" actId="14100"/>
          <ac:picMkLst>
            <pc:docMk/>
            <pc:sldMk cId="911419877" sldId="395"/>
            <ac:picMk id="5" creationId="{CB56503C-06CF-340F-CE7A-969FF30F7452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5:50:59.427" v="174" actId="14100"/>
          <ac:picMkLst>
            <pc:docMk/>
            <pc:sldMk cId="911419877" sldId="395"/>
            <ac:picMk id="6" creationId="{93006A67-4F54-F0B2-2DC5-1E11575A2C14}"/>
          </ac:picMkLst>
        </pc:picChg>
      </pc:sldChg>
      <pc:sldChg chg="addSp delSp modSp">
        <pc:chgData name="Corinne Lucas" userId="S::corinnelucas@corinnelucas.onmicrosoft.com::c06c79ba-2963-4f79-b81d-ead7c52970e9" providerId="AD" clId="Web-{30250FBA-4CCC-C59A-66FE-59F70A6B98DC}" dt="2023-06-21T16:05:42.780" v="194" actId="20577"/>
        <pc:sldMkLst>
          <pc:docMk/>
          <pc:sldMk cId="2776998344" sldId="396"/>
        </pc:sldMkLst>
        <pc:spChg chg="mod">
          <ac:chgData name="Corinne Lucas" userId="S::corinnelucas@corinnelucas.onmicrosoft.com::c06c79ba-2963-4f79-b81d-ead7c52970e9" providerId="AD" clId="Web-{30250FBA-4CCC-C59A-66FE-59F70A6B98DC}" dt="2023-06-21T16:05:42.780" v="194" actId="20577"/>
          <ac:spMkLst>
            <pc:docMk/>
            <pc:sldMk cId="2776998344" sldId="396"/>
            <ac:spMk id="2" creationId="{F0E37C96-13BD-4F0C-B379-77591A183D9B}"/>
          </ac:spMkLst>
        </pc:spChg>
        <pc:spChg chg="del">
          <ac:chgData name="Corinne Lucas" userId="S::corinnelucas@corinnelucas.onmicrosoft.com::c06c79ba-2963-4f79-b81d-ead7c52970e9" providerId="AD" clId="Web-{30250FBA-4CCC-C59A-66FE-59F70A6B98DC}" dt="2023-06-21T16:04:38.435" v="185"/>
          <ac:spMkLst>
            <pc:docMk/>
            <pc:sldMk cId="2776998344" sldId="396"/>
            <ac:spMk id="18" creationId="{A523E659-7992-4D86-97D9-71CDE4327174}"/>
          </ac:spMkLst>
        </pc:spChg>
        <pc:graphicFrameChg chg="del">
          <ac:chgData name="Corinne Lucas" userId="S::corinnelucas@corinnelucas.onmicrosoft.com::c06c79ba-2963-4f79-b81d-ead7c52970e9" providerId="AD" clId="Web-{30250FBA-4CCC-C59A-66FE-59F70A6B98DC}" dt="2023-06-21T16:05:15.951" v="190"/>
          <ac:graphicFrameMkLst>
            <pc:docMk/>
            <pc:sldMk cId="2776998344" sldId="396"/>
            <ac:graphicFrameMk id="14" creationId="{9980217C-1C2B-4572-811D-156100B49D26}"/>
          </ac:graphicFrameMkLst>
        </pc:graphicFrameChg>
        <pc:picChg chg="add mod">
          <ac:chgData name="Corinne Lucas" userId="S::corinnelucas@corinnelucas.onmicrosoft.com::c06c79ba-2963-4f79-b81d-ead7c52970e9" providerId="AD" clId="Web-{30250FBA-4CCC-C59A-66FE-59F70A6B98DC}" dt="2023-06-21T16:04:45.029" v="187" actId="1076"/>
          <ac:picMkLst>
            <pc:docMk/>
            <pc:sldMk cId="2776998344" sldId="396"/>
            <ac:picMk id="3" creationId="{441DAFE0-5BC8-E6A0-B5B3-B353B925A57F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6:05:08.545" v="189" actId="1076"/>
          <ac:picMkLst>
            <pc:docMk/>
            <pc:sldMk cId="2776998344" sldId="396"/>
            <ac:picMk id="4" creationId="{68EC6ED5-BF62-0201-E657-8DA21D284DD6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6:05:25.951" v="192" actId="1076"/>
          <ac:picMkLst>
            <pc:docMk/>
            <pc:sldMk cId="2776998344" sldId="396"/>
            <ac:picMk id="5" creationId="{CE8A6059-517E-6997-FA14-C217261833A9}"/>
          </ac:picMkLst>
        </pc:picChg>
      </pc:sldChg>
      <pc:sldChg chg="addSp delSp modSp">
        <pc:chgData name="Corinne Lucas" userId="S::corinnelucas@corinnelucas.onmicrosoft.com::c06c79ba-2963-4f79-b81d-ead7c52970e9" providerId="AD" clId="Web-{30250FBA-4CCC-C59A-66FE-59F70A6B98DC}" dt="2023-06-21T15:36:35.091" v="154" actId="20577"/>
        <pc:sldMkLst>
          <pc:docMk/>
          <pc:sldMk cId="2748477053" sldId="397"/>
        </pc:sldMkLst>
        <pc:spChg chg="mod">
          <ac:chgData name="Corinne Lucas" userId="S::corinnelucas@corinnelucas.onmicrosoft.com::c06c79ba-2963-4f79-b81d-ead7c52970e9" providerId="AD" clId="Web-{30250FBA-4CCC-C59A-66FE-59F70A6B98DC}" dt="2023-06-21T15:36:35.091" v="154" actId="20577"/>
          <ac:spMkLst>
            <pc:docMk/>
            <pc:sldMk cId="2748477053" sldId="397"/>
            <ac:spMk id="2" creationId="{F0E37C96-13BD-4F0C-B379-77591A183D9B}"/>
          </ac:spMkLst>
        </pc:spChg>
        <pc:spChg chg="del mod">
          <ac:chgData name="Corinne Lucas" userId="S::corinnelucas@corinnelucas.onmicrosoft.com::c06c79ba-2963-4f79-b81d-ead7c52970e9" providerId="AD" clId="Web-{30250FBA-4CCC-C59A-66FE-59F70A6B98DC}" dt="2023-06-21T14:29:13.523" v="35"/>
          <ac:spMkLst>
            <pc:docMk/>
            <pc:sldMk cId="2748477053" sldId="397"/>
            <ac:spMk id="8" creationId="{F6805C81-7BF1-484D-8586-0AB9B293FF59}"/>
          </ac:spMkLst>
        </pc:spChg>
        <pc:picChg chg="add mod">
          <ac:chgData name="Corinne Lucas" userId="S::corinnelucas@corinnelucas.onmicrosoft.com::c06c79ba-2963-4f79-b81d-ead7c52970e9" providerId="AD" clId="Web-{30250FBA-4CCC-C59A-66FE-59F70A6B98DC}" dt="2023-06-21T14:28:51.991" v="33" actId="1076"/>
          <ac:picMkLst>
            <pc:docMk/>
            <pc:sldMk cId="2748477053" sldId="397"/>
            <ac:picMk id="3" creationId="{6976CB4A-6397-5AB6-2077-C49EC3CD62B0}"/>
          </ac:picMkLst>
        </pc:picChg>
        <pc:cxnChg chg="mod">
          <ac:chgData name="Corinne Lucas" userId="S::corinnelucas@corinnelucas.onmicrosoft.com::c06c79ba-2963-4f79-b81d-ead7c52970e9" providerId="AD" clId="Web-{30250FBA-4CCC-C59A-66FE-59F70A6B98DC}" dt="2023-06-21T14:28:29.584" v="28" actId="1076"/>
          <ac:cxnSpMkLst>
            <pc:docMk/>
            <pc:sldMk cId="2748477053" sldId="397"/>
            <ac:cxnSpMk id="16" creationId="{B5D26C0C-ABE4-436D-9169-215E6A514CFF}"/>
          </ac:cxnSpMkLst>
        </pc:cxnChg>
      </pc:sldChg>
      <pc:sldChg chg="addSp delSp modSp">
        <pc:chgData name="Corinne Lucas" userId="S::corinnelucas@corinnelucas.onmicrosoft.com::c06c79ba-2963-4f79-b81d-ead7c52970e9" providerId="AD" clId="Web-{30250FBA-4CCC-C59A-66FE-59F70A6B98DC}" dt="2023-06-21T16:23:04.993" v="223" actId="20577"/>
        <pc:sldMkLst>
          <pc:docMk/>
          <pc:sldMk cId="667657664" sldId="399"/>
        </pc:sldMkLst>
        <pc:spChg chg="mod">
          <ac:chgData name="Corinne Lucas" userId="S::corinnelucas@corinnelucas.onmicrosoft.com::c06c79ba-2963-4f79-b81d-ead7c52970e9" providerId="AD" clId="Web-{30250FBA-4CCC-C59A-66FE-59F70A6B98DC}" dt="2023-06-21T16:23:04.993" v="223" actId="20577"/>
          <ac:spMkLst>
            <pc:docMk/>
            <pc:sldMk cId="667657664" sldId="399"/>
            <ac:spMk id="2" creationId="{F0E37C96-13BD-4F0C-B379-77591A183D9B}"/>
          </ac:spMkLst>
        </pc:spChg>
        <pc:spChg chg="del mod">
          <ac:chgData name="Corinne Lucas" userId="S::corinnelucas@corinnelucas.onmicrosoft.com::c06c79ba-2963-4f79-b81d-ead7c52970e9" providerId="AD" clId="Web-{30250FBA-4CCC-C59A-66FE-59F70A6B98DC}" dt="2023-06-21T14:58:35.116" v="97"/>
          <ac:spMkLst>
            <pc:docMk/>
            <pc:sldMk cId="667657664" sldId="399"/>
            <ac:spMk id="11" creationId="{B5D18292-FE24-4CB2-87CD-299583278E20}"/>
          </ac:spMkLst>
        </pc:spChg>
        <pc:spChg chg="del">
          <ac:chgData name="Corinne Lucas" userId="S::corinnelucas@corinnelucas.onmicrosoft.com::c06c79ba-2963-4f79-b81d-ead7c52970e9" providerId="AD" clId="Web-{30250FBA-4CCC-C59A-66FE-59F70A6B98DC}" dt="2023-06-21T14:53:18.613" v="60"/>
          <ac:spMkLst>
            <pc:docMk/>
            <pc:sldMk cId="667657664" sldId="399"/>
            <ac:spMk id="12" creationId="{77A5DBE7-3DE7-49FC-8E4D-CF5CF3BE2FD4}"/>
          </ac:spMkLst>
        </pc:spChg>
        <pc:graphicFrameChg chg="del">
          <ac:chgData name="Corinne Lucas" userId="S::corinnelucas@corinnelucas.onmicrosoft.com::c06c79ba-2963-4f79-b81d-ead7c52970e9" providerId="AD" clId="Web-{30250FBA-4CCC-C59A-66FE-59F70A6B98DC}" dt="2023-06-21T14:50:08.642" v="36"/>
          <ac:graphicFrameMkLst>
            <pc:docMk/>
            <pc:sldMk cId="667657664" sldId="399"/>
            <ac:graphicFrameMk id="13" creationId="{33CD020C-4138-4083-9D75-DA93638CB2B6}"/>
          </ac:graphicFrameMkLst>
        </pc:graphicFrameChg>
        <pc:picChg chg="add del mod">
          <ac:chgData name="Corinne Lucas" userId="S::corinnelucas@corinnelucas.onmicrosoft.com::c06c79ba-2963-4f79-b81d-ead7c52970e9" providerId="AD" clId="Web-{30250FBA-4CCC-C59A-66FE-59F70A6B98DC}" dt="2023-06-21T14:53:51.769" v="64"/>
          <ac:picMkLst>
            <pc:docMk/>
            <pc:sldMk cId="667657664" sldId="399"/>
            <ac:picMk id="3" creationId="{20C5189A-C516-3CDF-0276-157F81DF4971}"/>
          </ac:picMkLst>
        </pc:picChg>
        <pc:picChg chg="add del mod">
          <ac:chgData name="Corinne Lucas" userId="S::corinnelucas@corinnelucas.onmicrosoft.com::c06c79ba-2963-4f79-b81d-ead7c52970e9" providerId="AD" clId="Web-{30250FBA-4CCC-C59A-66FE-59F70A6B98DC}" dt="2023-06-21T14:54:11.707" v="68"/>
          <ac:picMkLst>
            <pc:docMk/>
            <pc:sldMk cId="667657664" sldId="399"/>
            <ac:picMk id="4" creationId="{789406A4-18C8-87ED-B197-1457AA3ED362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4:56:54.802" v="82" actId="1076"/>
          <ac:picMkLst>
            <pc:docMk/>
            <pc:sldMk cId="667657664" sldId="399"/>
            <ac:picMk id="5" creationId="{93D50807-5BCA-AF4C-0C6C-4214E48B569B}"/>
          </ac:picMkLst>
        </pc:picChg>
        <pc:picChg chg="add del mod">
          <ac:chgData name="Corinne Lucas" userId="S::corinnelucas@corinnelucas.onmicrosoft.com::c06c79ba-2963-4f79-b81d-ead7c52970e9" providerId="AD" clId="Web-{30250FBA-4CCC-C59A-66FE-59F70A6B98DC}" dt="2023-06-21T14:56:16.396" v="74"/>
          <ac:picMkLst>
            <pc:docMk/>
            <pc:sldMk cId="667657664" sldId="399"/>
            <ac:picMk id="6" creationId="{B70EF166-1168-39DB-E587-E3F52C1DA4BE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4:57:52.662" v="93" actId="1076"/>
          <ac:picMkLst>
            <pc:docMk/>
            <pc:sldMk cId="667657664" sldId="399"/>
            <ac:picMk id="7" creationId="{697BAE4E-C1B3-D537-D48E-9BF07DD2F259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4:58:35.053" v="95" actId="1076"/>
          <ac:picMkLst>
            <pc:docMk/>
            <pc:sldMk cId="667657664" sldId="399"/>
            <ac:picMk id="8" creationId="{88185E8E-B4BB-DD48-07E8-37E7849D9162}"/>
          </ac:picMkLst>
        </pc:picChg>
      </pc:sldChg>
      <pc:sldChg chg="add del replId">
        <pc:chgData name="Corinne Lucas" userId="S::corinnelucas@corinnelucas.onmicrosoft.com::c06c79ba-2963-4f79-b81d-ead7c52970e9" providerId="AD" clId="Web-{30250FBA-4CCC-C59A-66FE-59F70A6B98DC}" dt="2023-06-21T16:22:17.321" v="222"/>
        <pc:sldMkLst>
          <pc:docMk/>
          <pc:sldMk cId="1481856361" sldId="400"/>
        </pc:sldMkLst>
      </pc:sldChg>
      <pc:sldChg chg="addSp delSp modSp add replId">
        <pc:chgData name="Corinne Lucas" userId="S::corinnelucas@corinnelucas.onmicrosoft.com::c06c79ba-2963-4f79-b81d-ead7c52970e9" providerId="AD" clId="Web-{30250FBA-4CCC-C59A-66FE-59F70A6B98DC}" dt="2023-06-21T16:24:46.119" v="231" actId="20577"/>
        <pc:sldMkLst>
          <pc:docMk/>
          <pc:sldMk cId="3337666402" sldId="401"/>
        </pc:sldMkLst>
        <pc:spChg chg="mod">
          <ac:chgData name="Corinne Lucas" userId="S::corinnelucas@corinnelucas.onmicrosoft.com::c06c79ba-2963-4f79-b81d-ead7c52970e9" providerId="AD" clId="Web-{30250FBA-4CCC-C59A-66FE-59F70A6B98DC}" dt="2023-06-21T16:24:46.119" v="231" actId="20577"/>
          <ac:spMkLst>
            <pc:docMk/>
            <pc:sldMk cId="3337666402" sldId="401"/>
            <ac:spMk id="2" creationId="{F0E37C96-13BD-4F0C-B379-77591A183D9B}"/>
          </ac:spMkLst>
        </pc:spChg>
        <pc:spChg chg="del">
          <ac:chgData name="Corinne Lucas" userId="S::corinnelucas@corinnelucas.onmicrosoft.com::c06c79ba-2963-4f79-b81d-ead7c52970e9" providerId="AD" clId="Web-{30250FBA-4CCC-C59A-66FE-59F70A6B98DC}" dt="2023-06-21T15:11:36.123" v="106"/>
          <ac:spMkLst>
            <pc:docMk/>
            <pc:sldMk cId="3337666402" sldId="401"/>
            <ac:spMk id="26" creationId="{C113BB59-C26A-4B5B-AAC6-AC1F1CBB1AF0}"/>
          </ac:spMkLst>
        </pc:spChg>
        <pc:picChg chg="add mod">
          <ac:chgData name="Corinne Lucas" userId="S::corinnelucas@corinnelucas.onmicrosoft.com::c06c79ba-2963-4f79-b81d-ead7c52970e9" providerId="AD" clId="Web-{30250FBA-4CCC-C59A-66FE-59F70A6B98DC}" dt="2023-06-21T15:11:55.170" v="109" actId="1076"/>
          <ac:picMkLst>
            <pc:docMk/>
            <pc:sldMk cId="3337666402" sldId="401"/>
            <ac:picMk id="3" creationId="{536BF411-0FCD-5030-F4A2-B799D3CF90AD}"/>
          </ac:picMkLst>
        </pc:picChg>
        <pc:picChg chg="add mod">
          <ac:chgData name="Corinne Lucas" userId="S::corinnelucas@corinnelucas.onmicrosoft.com::c06c79ba-2963-4f79-b81d-ead7c52970e9" providerId="AD" clId="Web-{30250FBA-4CCC-C59A-66FE-59F70A6B98DC}" dt="2023-06-21T15:12:11.905" v="112" actId="1076"/>
          <ac:picMkLst>
            <pc:docMk/>
            <pc:sldMk cId="3337666402" sldId="401"/>
            <ac:picMk id="4" creationId="{B708DCA7-FD26-F035-A35B-31CDC36A57F6}"/>
          </ac:picMkLst>
        </pc:picChg>
        <pc:cxnChg chg="mod">
          <ac:chgData name="Corinne Lucas" userId="S::corinnelucas@corinnelucas.onmicrosoft.com::c06c79ba-2963-4f79-b81d-ead7c52970e9" providerId="AD" clId="Web-{30250FBA-4CCC-C59A-66FE-59F70A6B98DC}" dt="2023-06-21T16:24:28.884" v="227" actId="1076"/>
          <ac:cxnSpMkLst>
            <pc:docMk/>
            <pc:sldMk cId="3337666402" sldId="401"/>
            <ac:cxnSpMk id="16" creationId="{B5D26C0C-ABE4-436D-9169-215E6A514CFF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21/06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Segmentation of the revenues by unit, reveals that of the three (3) customer segments, </a:t>
            </a:r>
            <a:r>
              <a:rPr lang="en-GB" sz="1400" b="1" u="sng" dirty="0">
                <a:ea typeface="Arial Unicode MS"/>
                <a:cs typeface="Arial Unicode MS"/>
              </a:rPr>
              <a:t>Private</a:t>
            </a:r>
            <a:r>
              <a:rPr lang="en-GB" sz="1400" b="1" dirty="0">
                <a:ea typeface="Arial Unicode MS"/>
                <a:cs typeface="Arial Unicode MS"/>
              </a:rPr>
              <a:t> ($</a:t>
            </a:r>
            <a:r>
              <a:rPr lang="en-GB" sz="1400" b="1" u="sng" dirty="0">
                <a:ea typeface="Arial Unicode MS"/>
                <a:cs typeface="Arial Unicode MS"/>
              </a:rPr>
              <a:t>187 M) </a:t>
            </a:r>
            <a:r>
              <a:rPr lang="en-GB" sz="1400" b="1" dirty="0">
                <a:ea typeface="Arial Unicode MS"/>
                <a:cs typeface="Arial Unicode MS"/>
              </a:rPr>
              <a:t>are the most popular, followed by </a:t>
            </a:r>
            <a:r>
              <a:rPr lang="en-GB" sz="1400" b="1" u="sng" dirty="0">
                <a:ea typeface="Arial Unicode MS"/>
                <a:cs typeface="Arial Unicode MS"/>
              </a:rPr>
              <a:t>Public </a:t>
            </a:r>
            <a:r>
              <a:rPr lang="en-GB" sz="1400" b="1" dirty="0">
                <a:ea typeface="Arial Unicode MS"/>
                <a:cs typeface="Arial Unicode MS"/>
              </a:rPr>
              <a:t>($</a:t>
            </a:r>
            <a:r>
              <a:rPr lang="en-GB" sz="1400" b="1" u="sng" dirty="0">
                <a:ea typeface="Arial Unicode MS"/>
                <a:cs typeface="Arial Unicode MS"/>
              </a:rPr>
              <a:t>147</a:t>
            </a:r>
            <a:r>
              <a:rPr lang="en-GB" sz="1400" b="1" dirty="0">
                <a:ea typeface="Arial Unicode MS"/>
                <a:cs typeface="Arial Unicode MS"/>
              </a:rPr>
              <a:t> M) and lastly </a:t>
            </a:r>
            <a:r>
              <a:rPr lang="en-GB" sz="1400" b="1" u="sng" dirty="0">
                <a:ea typeface="Arial Unicode MS"/>
                <a:cs typeface="Arial Unicode MS"/>
              </a:rPr>
              <a:t>Residential</a:t>
            </a:r>
            <a:r>
              <a:rPr lang="en-GB" sz="1400" b="1" dirty="0">
                <a:ea typeface="Arial Unicode MS"/>
                <a:cs typeface="Arial Unicode MS"/>
              </a:rPr>
              <a:t> Sales ($102 M). 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50242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6976CB4A-6397-5AB6-2077-C49EC3CD62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307" y="1302322"/>
            <a:ext cx="7345221" cy="451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Of the ($</a:t>
            </a:r>
            <a:r>
              <a:rPr lang="en-GB" sz="1400" b="1" u="sng" dirty="0">
                <a:ea typeface="Arial Unicode MS"/>
                <a:cs typeface="Arial Unicode MS"/>
              </a:rPr>
              <a:t>437 M</a:t>
            </a:r>
            <a:r>
              <a:rPr lang="en-GB" sz="1400" b="1" dirty="0">
                <a:ea typeface="Arial Unicode MS"/>
                <a:cs typeface="Arial Unicode MS"/>
              </a:rPr>
              <a:t>) in Revenue Sales over the July-2013 to June-2014 Period, </a:t>
            </a:r>
            <a:r>
              <a:rPr lang="en-GB" sz="1400" b="1" u="sng" dirty="0" err="1">
                <a:ea typeface="Arial Unicode MS"/>
                <a:cs typeface="Arial Unicode MS"/>
              </a:rPr>
              <a:t>Surjek</a:t>
            </a:r>
            <a:r>
              <a:rPr lang="en-GB" sz="1400" b="1" dirty="0">
                <a:ea typeface="Arial Unicode MS"/>
                <a:cs typeface="Arial Unicode MS"/>
              </a:rPr>
              <a:t> provides close to 50% of Sales Volumes ($</a:t>
            </a:r>
            <a:r>
              <a:rPr lang="en-GB" sz="1400" b="1" u="sng" dirty="0">
                <a:ea typeface="Arial Unicode MS"/>
                <a:cs typeface="Arial Unicode MS"/>
              </a:rPr>
              <a:t>202 M</a:t>
            </a:r>
            <a:r>
              <a:rPr lang="en-GB" sz="1400" b="1" dirty="0">
                <a:ea typeface="Arial Unicode MS"/>
                <a:cs typeface="Arial Unicode MS"/>
              </a:rPr>
              <a:t>), with </a:t>
            </a:r>
            <a:r>
              <a:rPr lang="en-GB" sz="1400" b="1" u="sng" dirty="0" err="1">
                <a:ea typeface="Arial Unicode MS"/>
                <a:cs typeface="Arial Unicode MS"/>
              </a:rPr>
              <a:t>Jutik</a:t>
            </a:r>
            <a:r>
              <a:rPr lang="en-GB" sz="1400" b="1" dirty="0">
                <a:ea typeface="Arial Unicode MS"/>
                <a:cs typeface="Arial Unicode MS"/>
              </a:rPr>
              <a:t> ($</a:t>
            </a:r>
            <a:r>
              <a:rPr lang="en-GB" sz="1400" b="1" u="sng" dirty="0">
                <a:ea typeface="Arial Unicode MS"/>
                <a:cs typeface="Arial Unicode MS"/>
              </a:rPr>
              <a:t>164 </a:t>
            </a:r>
            <a:r>
              <a:rPr lang="en-GB" sz="1400" b="1" dirty="0">
                <a:ea typeface="Arial Unicode MS"/>
                <a:cs typeface="Arial Unicode MS"/>
              </a:rPr>
              <a:t>M) and </a:t>
            </a:r>
            <a:r>
              <a:rPr lang="en-GB" sz="1400" b="1" dirty="0" err="1">
                <a:ea typeface="Arial Unicode MS"/>
                <a:cs typeface="Arial Unicode MS"/>
              </a:rPr>
              <a:t>Kootha</a:t>
            </a:r>
            <a:r>
              <a:rPr lang="en-GB" sz="1400" b="1" dirty="0">
                <a:ea typeface="Arial Unicode MS"/>
                <a:cs typeface="Arial Unicode MS"/>
              </a:rPr>
              <a:t> </a:t>
            </a:r>
            <a:r>
              <a:rPr lang="en-GB" sz="1400" b="1" u="sng" dirty="0">
                <a:ea typeface="Arial Unicode MS"/>
                <a:cs typeface="Arial Unicode MS"/>
              </a:rPr>
              <a:t>($71 M)</a:t>
            </a:r>
            <a:r>
              <a:rPr lang="en-GB" sz="1400" b="1" dirty="0">
                <a:ea typeface="Arial Unicode MS"/>
                <a:cs typeface="Arial Unicode MS"/>
              </a:rPr>
              <a:t> providing the remaining.</a:t>
            </a:r>
            <a:endParaRPr lang="en-AU" sz="1400" b="1">
              <a:ea typeface="Arial Unicode MS"/>
              <a:cs typeface="Arial Unicode M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93D50807-5BCA-AF4C-0C6C-4214E48B56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61" y="1232741"/>
            <a:ext cx="2811133" cy="4438726"/>
          </a:xfrm>
          <a:prstGeom prst="rect">
            <a:avLst/>
          </a:prstGeom>
        </p:spPr>
      </p:pic>
      <p:pic>
        <p:nvPicPr>
          <p:cNvPr id="7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697BAE4E-C1B3-D537-D48E-9BF07DD2F2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6200" y="1236417"/>
            <a:ext cx="3012961" cy="4444922"/>
          </a:xfrm>
          <a:prstGeom prst="rect">
            <a:avLst/>
          </a:prstGeom>
        </p:spPr>
      </p:pic>
      <p:pic>
        <p:nvPicPr>
          <p:cNvPr id="8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88185E8E-B4BB-DD48-07E8-37E7849D91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9962" y="1231502"/>
            <a:ext cx="2999464" cy="4427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Targeted Expense Analysis reveals an interesting trend; Overall Costs sharply increase from December, with </a:t>
            </a:r>
            <a:r>
              <a:rPr lang="en-GB" sz="1400" b="1" u="sng" dirty="0">
                <a:ea typeface="Arial Unicode MS"/>
                <a:cs typeface="Arial Unicode MS"/>
              </a:rPr>
              <a:t>Chemical Expenses</a:t>
            </a:r>
            <a:r>
              <a:rPr lang="en-GB" sz="1400" b="1" dirty="0">
                <a:ea typeface="Arial Unicode MS"/>
                <a:cs typeface="Arial Unicode MS"/>
              </a:rPr>
              <a:t> contributing $</a:t>
            </a:r>
            <a:r>
              <a:rPr lang="en-GB" sz="1400" b="1" u="sng" dirty="0">
                <a:ea typeface="Arial Unicode MS"/>
                <a:cs typeface="Arial Unicode MS"/>
              </a:rPr>
              <a:t>78.4 M</a:t>
            </a:r>
            <a:r>
              <a:rPr lang="en-GB" sz="1400" b="1" dirty="0">
                <a:ea typeface="Arial Unicode MS"/>
                <a:cs typeface="Arial Unicode MS"/>
              </a:rPr>
              <a:t> (</a:t>
            </a:r>
            <a:r>
              <a:rPr lang="en-GB" sz="1400" b="1" u="sng" dirty="0">
                <a:ea typeface="Arial Unicode MS"/>
                <a:cs typeface="Arial Unicode MS"/>
              </a:rPr>
              <a:t>24.4</a:t>
            </a:r>
            <a:r>
              <a:rPr lang="en-GB" sz="1400" b="1" dirty="0">
                <a:ea typeface="Arial Unicode MS"/>
                <a:cs typeface="Arial Unicode MS"/>
              </a:rPr>
              <a:t>%) towards the overall cost-base. 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379030" y="692781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536BF411-0FCD-5030-F4A2-B799D3CF9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10" y="1498796"/>
            <a:ext cx="4376071" cy="3705922"/>
          </a:xfrm>
          <a:prstGeom prst="rect">
            <a:avLst/>
          </a:prstGeom>
        </p:spPr>
      </p:pic>
      <p:pic>
        <p:nvPicPr>
          <p:cNvPr id="4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B708DCA7-FD26-F035-A35B-31CDC36A5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0272" y="874804"/>
            <a:ext cx="4335582" cy="557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666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Further analysis singles-out </a:t>
            </a:r>
            <a:r>
              <a:rPr lang="en-GB" sz="1400" b="1" u="sng" dirty="0" err="1">
                <a:ea typeface="Arial Unicode MS"/>
                <a:cs typeface="Arial Unicode MS"/>
              </a:rPr>
              <a:t>Surjek</a:t>
            </a:r>
            <a:r>
              <a:rPr lang="en-GB" sz="1400" b="1" dirty="0">
                <a:ea typeface="Arial Unicode MS"/>
                <a:cs typeface="Arial Unicode MS"/>
              </a:rPr>
              <a:t> with $</a:t>
            </a:r>
            <a:r>
              <a:rPr lang="en-GB" sz="1400" b="1" u="sng" dirty="0">
                <a:ea typeface="Arial Unicode MS"/>
                <a:cs typeface="Arial Unicode MS"/>
              </a:rPr>
              <a:t>179 M </a:t>
            </a:r>
            <a:r>
              <a:rPr lang="en-GB" sz="1400" b="1" dirty="0">
                <a:ea typeface="Arial Unicode MS"/>
                <a:cs typeface="Arial Unicode MS"/>
              </a:rPr>
              <a:t>(</a:t>
            </a:r>
            <a:r>
              <a:rPr lang="en-GB" sz="1400" b="1" u="sng" dirty="0">
                <a:ea typeface="Arial Unicode MS"/>
                <a:cs typeface="Arial Unicode MS"/>
              </a:rPr>
              <a:t>55.8</a:t>
            </a:r>
            <a:r>
              <a:rPr lang="en-GB" sz="1400" b="1" dirty="0">
                <a:ea typeface="Arial Unicode MS"/>
                <a:cs typeface="Arial Unicode MS"/>
              </a:rPr>
              <a:t>%) worth of expenses, contrasted to a much lower spend from </a:t>
            </a:r>
            <a:r>
              <a:rPr lang="en-GB" sz="1400" b="1" u="sng" dirty="0" err="1">
                <a:ea typeface="Arial Unicode MS"/>
                <a:cs typeface="Arial Unicode MS"/>
              </a:rPr>
              <a:t>Kootha</a:t>
            </a:r>
            <a:r>
              <a:rPr lang="en-GB" sz="1400" b="1" u="sng" dirty="0">
                <a:ea typeface="Arial Unicode MS"/>
                <a:cs typeface="Arial Unicode MS"/>
              </a:rPr>
              <a:t> </a:t>
            </a:r>
            <a:r>
              <a:rPr lang="en-GB" sz="1400" b="1" dirty="0">
                <a:ea typeface="Arial Unicode MS"/>
                <a:cs typeface="Arial Unicode MS"/>
              </a:rPr>
              <a:t>($51 M) and </a:t>
            </a:r>
            <a:r>
              <a:rPr lang="en-GB" sz="1400" b="1" u="sng" dirty="0" err="1">
                <a:ea typeface="Arial Unicode MS"/>
                <a:cs typeface="Arial Unicode MS"/>
              </a:rPr>
              <a:t>Jutik</a:t>
            </a:r>
            <a:r>
              <a:rPr lang="en-GB" sz="1400" b="1" dirty="0">
                <a:ea typeface="Arial Unicode MS"/>
                <a:cs typeface="Arial Unicode MS"/>
              </a:rPr>
              <a:t> ($</a:t>
            </a:r>
            <a:r>
              <a:rPr lang="en-GB" sz="1400" b="1" u="sng" dirty="0">
                <a:ea typeface="Arial Unicode MS"/>
                <a:cs typeface="Arial Unicode MS"/>
              </a:rPr>
              <a:t>91 </a:t>
            </a:r>
            <a:r>
              <a:rPr lang="en-GB" sz="1400" b="1" dirty="0">
                <a:ea typeface="Arial Unicode MS"/>
                <a:cs typeface="Arial Unicode MS"/>
              </a:rPr>
              <a:t>M), largely due to lower Chemical and Labour Expenditure. 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5C2F4C79-8925-3D8B-E829-B15AA87C13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08" y="1916402"/>
            <a:ext cx="4405240" cy="2883343"/>
          </a:xfrm>
          <a:prstGeom prst="rect">
            <a:avLst/>
          </a:prstGeom>
        </p:spPr>
      </p:pic>
      <p:pic>
        <p:nvPicPr>
          <p:cNvPr id="5" name="Picture 5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CB56503C-06CF-340F-CE7A-969FF30F74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6070" y="772858"/>
            <a:ext cx="4342004" cy="2859818"/>
          </a:xfrm>
          <a:prstGeom prst="rect">
            <a:avLst/>
          </a:prstGeom>
        </p:spPr>
      </p:pic>
      <p:pic>
        <p:nvPicPr>
          <p:cNvPr id="6" name="Picture 6" descr="Chart, waterfall chart&#10;&#10;Description automatically generated">
            <a:extLst>
              <a:ext uri="{FF2B5EF4-FFF2-40B4-BE49-F238E27FC236}">
                <a16:creationId xmlns:a16="http://schemas.microsoft.com/office/drawing/2014/main" id="{93006A67-4F54-F0B2-2DC5-1E11575A2C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6070" y="3737036"/>
            <a:ext cx="4351037" cy="2879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>
                <a:ea typeface="Arial Unicode MS"/>
                <a:cs typeface="Arial Unicode MS"/>
              </a:rPr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u="sng" dirty="0" err="1">
                <a:ea typeface="Arial Unicode MS"/>
                <a:cs typeface="Arial Unicode MS"/>
              </a:rPr>
              <a:t>Surjek</a:t>
            </a:r>
            <a:r>
              <a:rPr lang="en-GB" sz="1400" b="1" dirty="0">
                <a:ea typeface="Arial Unicode MS"/>
                <a:cs typeface="Arial Unicode MS"/>
              </a:rPr>
              <a:t> Unit which coincidentally has the highest rate of water production. 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441DAFE0-5BC8-E6A0-B5B3-B353B925A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34" y="1608259"/>
            <a:ext cx="2743038" cy="4112355"/>
          </a:xfrm>
          <a:prstGeom prst="rect">
            <a:avLst/>
          </a:prstGeom>
        </p:spPr>
      </p:pic>
      <p:pic>
        <p:nvPicPr>
          <p:cNvPr id="4" name="Picture 4" descr="Chart, line chart, histogram&#10;&#10;Description automatically generated">
            <a:extLst>
              <a:ext uri="{FF2B5EF4-FFF2-40B4-BE49-F238E27FC236}">
                <a16:creationId xmlns:a16="http://schemas.microsoft.com/office/drawing/2014/main" id="{68EC6ED5-BF62-0201-E657-8DA21D284D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0627" y="1607036"/>
            <a:ext cx="2731717" cy="4114800"/>
          </a:xfrm>
          <a:prstGeom prst="rect">
            <a:avLst/>
          </a:prstGeom>
        </p:spPr>
      </p:pic>
      <p:pic>
        <p:nvPicPr>
          <p:cNvPr id="5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CE8A6059-517E-6997-FA14-C217261833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1072" y="1610085"/>
            <a:ext cx="2743038" cy="4090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02" y="167094"/>
            <a:ext cx="8737599" cy="623248"/>
          </a:xfrm>
        </p:spPr>
        <p:txBody>
          <a:bodyPr/>
          <a:lstStyle/>
          <a:p>
            <a:r>
              <a:rPr lang="en-AU" sz="1350" b="1" dirty="0">
                <a:ea typeface="Arial Unicode MS"/>
                <a:cs typeface="Arial Unicode MS"/>
              </a:rPr>
              <a:t>Concluding our analysis, </a:t>
            </a:r>
            <a:r>
              <a:rPr lang="en-AU" sz="1350" b="1" u="sng" dirty="0">
                <a:ea typeface="Arial Unicode MS"/>
                <a:cs typeface="Arial Unicode MS"/>
              </a:rPr>
              <a:t>Jutik </a:t>
            </a:r>
            <a:r>
              <a:rPr lang="en-AU" sz="1350" b="1" dirty="0">
                <a:ea typeface="Arial Unicode MS"/>
                <a:cs typeface="Arial Unicode MS"/>
              </a:rPr>
              <a:t>has the highest overall EBIT contributions ($73 M), followed by </a:t>
            </a:r>
            <a:r>
              <a:rPr lang="en-AU" sz="1350" b="1" u="sng" dirty="0" err="1">
                <a:ea typeface="Arial Unicode MS"/>
                <a:cs typeface="Arial Unicode MS"/>
              </a:rPr>
              <a:t>Surjek</a:t>
            </a:r>
            <a:r>
              <a:rPr lang="en-AU" sz="1350" b="1" u="sng" dirty="0">
                <a:ea typeface="Arial Unicode MS"/>
                <a:cs typeface="Arial Unicode MS"/>
              </a:rPr>
              <a:t> </a:t>
            </a:r>
            <a:r>
              <a:rPr lang="en-AU" sz="1350" b="1" dirty="0">
                <a:ea typeface="Arial Unicode MS"/>
                <a:cs typeface="Arial Unicode MS"/>
              </a:rPr>
              <a:t>($</a:t>
            </a:r>
            <a:r>
              <a:rPr lang="en-AU" sz="1350" b="1" u="sng" dirty="0">
                <a:ea typeface="Arial Unicode MS"/>
                <a:cs typeface="Arial Unicode MS"/>
              </a:rPr>
              <a:t>23 </a:t>
            </a:r>
            <a:r>
              <a:rPr lang="en-AU" sz="1350" b="1" dirty="0">
                <a:ea typeface="Arial Unicode MS"/>
                <a:cs typeface="Arial Unicode MS"/>
              </a:rPr>
              <a:t>M) , and lastly </a:t>
            </a:r>
            <a:r>
              <a:rPr lang="en-AU" sz="1350" b="1" dirty="0" err="1">
                <a:ea typeface="Arial Unicode MS"/>
                <a:cs typeface="Arial Unicode MS"/>
              </a:rPr>
              <a:t>Kootha</a:t>
            </a:r>
            <a:r>
              <a:rPr lang="en-AU" sz="1350" b="1" dirty="0">
                <a:ea typeface="Arial Unicode MS"/>
                <a:cs typeface="Arial Unicode MS"/>
              </a:rPr>
              <a:t> ($</a:t>
            </a:r>
            <a:r>
              <a:rPr lang="en-AU" sz="1350" b="1" u="sng" dirty="0">
                <a:ea typeface="Arial Unicode MS"/>
                <a:cs typeface="Arial Unicode MS"/>
              </a:rPr>
              <a:t>20 </a:t>
            </a:r>
            <a:r>
              <a:rPr lang="en-AU" sz="1350" b="1" dirty="0">
                <a:ea typeface="Arial Unicode MS"/>
                <a:cs typeface="Arial Unicode MS"/>
              </a:rPr>
              <a:t>M). However, from an EBIT  Margin (%) perspective, </a:t>
            </a:r>
            <a:r>
              <a:rPr lang="en-AU" sz="1350" b="1" dirty="0" err="1">
                <a:ea typeface="Arial Unicode MS"/>
                <a:cs typeface="Arial Unicode MS"/>
              </a:rPr>
              <a:t>Kootha</a:t>
            </a:r>
            <a:r>
              <a:rPr lang="en-AU" sz="1350" b="1" dirty="0">
                <a:ea typeface="Arial Unicode MS"/>
                <a:cs typeface="Arial Unicode MS"/>
              </a:rPr>
              <a:t> has a higher margin than that of </a:t>
            </a:r>
            <a:r>
              <a:rPr lang="en-AU" sz="1350" b="1" u="sng" dirty="0" err="1">
                <a:ea typeface="Arial Unicode MS"/>
                <a:cs typeface="Arial Unicode MS"/>
              </a:rPr>
              <a:t>Jutik</a:t>
            </a:r>
            <a:r>
              <a:rPr lang="en-AU" sz="1350" b="1" dirty="0">
                <a:ea typeface="Arial Unicode MS"/>
                <a:cs typeface="Arial Unicode MS"/>
              </a:rPr>
              <a:t>, indicative of a lower revenue-to-expense ratio.¹ </a:t>
            </a:r>
            <a:endParaRPr lang="en-AU" sz="135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45015093-13C5-49D9-5857-45AD33EACB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34" y="2072832"/>
            <a:ext cx="4305869" cy="2579364"/>
          </a:xfrm>
          <a:prstGeom prst="rect">
            <a:avLst/>
          </a:prstGeom>
        </p:spPr>
      </p:pic>
      <p:pic>
        <p:nvPicPr>
          <p:cNvPr id="4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3ED60C89-3274-6FD5-D70E-98377B65B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7045" y="2024681"/>
            <a:ext cx="4332970" cy="265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84</TotalTime>
  <Words>436</Words>
  <Application>Microsoft Office PowerPoint</Application>
  <PresentationFormat>Custom</PresentationFormat>
  <Paragraphs>50</Paragraphs>
  <Slides>6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1_Synergy_CF_YNR013</vt:lpstr>
      <vt:lpstr>Segmentation of the revenues by unit, reveals that of the three (3) customer segments, Private ($187 M) are the most popular, followed by Public ($147 M) and lastly Residential Sales ($102 M). </vt:lpstr>
      <vt:lpstr>Of the ($437 M) in Revenue Sales over the July-2013 to June-2014 Period, Surjek provides close to 50% of Sales Volumes ($202 M), with Jutik ($164 M) and Kootha ($71 M) providing the remaining.</vt:lpstr>
      <vt:lpstr>Targeted Expense Analysis reveals an interesting trend; Overall Costs sharply increase from December, with Chemical Expenses contributing $78.4 M (24.4%) towards the overall cost-base. </vt:lpstr>
      <vt:lpstr>Further analysis singles-out Surjek with $179 M (55.8%) worth of expenses, contrasted to a much lower spend from Kootha ($51 M) and Jutik ($91 M), largely due to lower Chemical and Labour Expenditure. </vt:lpstr>
      <vt:lpstr>Drilling-down to the cost-element level, reveals an indicative relationship between water production and chemical expenditure with this being particularly pronounced for the Surjek Unit which coincidentally has the highest rate of water production. </vt:lpstr>
      <vt:lpstr>Concluding our analysis, Jutik has the highest overall EBIT contributions ($73 M), followed by Surjek ($23 M) , and lastly Kootha ($20 M). However, from an EBIT  Margin (%) perspective, Kootha has a higher margin than that of Jutik, indicative of a lower revenue-to-expense ratio.¹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hristopher H</cp:lastModifiedBy>
  <cp:revision>231</cp:revision>
  <dcterms:created xsi:type="dcterms:W3CDTF">2020-04-12T13:23:13Z</dcterms:created>
  <dcterms:modified xsi:type="dcterms:W3CDTF">2023-06-21T16:25:19Z</dcterms:modified>
</cp:coreProperties>
</file>